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373" r:id="rId5"/>
  </p:sldIdLst>
  <p:sldSz cx="12192000" cy="6858000"/>
  <p:notesSz cx="6980238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5" d="100"/>
          <a:sy n="65" d="100"/>
        </p:scale>
        <p:origin x="38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hyperlink" Target="http://www.woodmac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hyperlink" Target="http://www.woodmac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hyperlink" Target="http://www.woodmac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woodmac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hyperlink" Target="http://www.woodmac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hyperlink" Target="http://www.woodmac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hyperlink" Target="http://www.woodmac.com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woodmac.com/" TargetMode="External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– Arial Bold, 19pt, R6 G53 B122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indent="0">
              <a:buFontTx/>
              <a:buNone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41737277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9050647" y="1836000"/>
            <a:ext cx="1200000" cy="12000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lIns="0" tIns="0" rIns="0" bIns="0"/>
          <a:lstStyle>
            <a:lvl1pPr marL="0" marR="0" indent="0" algn="ctr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6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US" dirty="0"/>
              <a:t>photo </a:t>
            </a:r>
          </a:p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256px X 256px</a:t>
            </a:r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494" y="396000"/>
            <a:ext cx="11367153" cy="651149"/>
          </a:xfrm>
        </p:spPr>
        <p:txBody>
          <a:bodyPr bIns="0" anchor="t" anchorCtr="0">
            <a:noAutofit/>
          </a:bodyPr>
          <a:lstStyle>
            <a:lvl1pPr>
              <a:defRPr sz="2533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 – Arial Bold, 19pt, R6 G53 B122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6493" y="936000"/>
            <a:ext cx="11367155" cy="558000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 – Arial Regular, 16pt, R0 G164 B227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6494" y="1522949"/>
            <a:ext cx="6130847" cy="3286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67" b="1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Biography – Arial Bold, 14pt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indent="0">
              <a:buFontTx/>
              <a:buNone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18123" y="1836000"/>
            <a:ext cx="8418461" cy="0"/>
          </a:xfrm>
          <a:prstGeom prst="line">
            <a:avLst/>
          </a:prstGeom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050646" y="1548001"/>
            <a:ext cx="2725185" cy="215444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None/>
              <a:defRPr sz="1600" b="0" i="0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onnect with First Nam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16492" y="1908000"/>
            <a:ext cx="8418461" cy="4608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341"/>
              </a:spcBef>
              <a:spcAft>
                <a:spcPts val="341"/>
              </a:spcAft>
              <a:buClr>
                <a:schemeClr val="tx2"/>
              </a:buClr>
              <a:buSzPct val="100000"/>
              <a:buFont typeface="Wingdings 2" panose="05020102010507070707" pitchFamily="18" charset="2"/>
              <a:buNone/>
              <a:tabLst/>
              <a:defRPr sz="1600" b="1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304838" indent="0">
              <a:lnSpc>
                <a:spcPct val="100000"/>
              </a:lnSpc>
              <a:spcBef>
                <a:spcPts val="341"/>
              </a:spcBef>
              <a:spcAft>
                <a:spcPts val="341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None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Arial Bold 12pt</a:t>
            </a:r>
          </a:p>
        </p:txBody>
      </p:sp>
      <p:sp>
        <p:nvSpPr>
          <p:cNvPr id="24" name="Rectangle 23">
            <a:hlinkClick r:id="rId6"/>
          </p:cNvPr>
          <p:cNvSpPr/>
          <p:nvPr userDrawn="1"/>
        </p:nvSpPr>
        <p:spPr>
          <a:xfrm>
            <a:off x="10355885" y="150465"/>
            <a:ext cx="991192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050648" y="5215309"/>
            <a:ext cx="2725185" cy="20518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333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+XX XX XXXX XXXX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050648" y="4381644"/>
            <a:ext cx="2725185" cy="20518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333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+XX XXXX XXX XXXX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050648" y="5951513"/>
            <a:ext cx="2725185" cy="20518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333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Name xxx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050647" y="3601197"/>
            <a:ext cx="2792027" cy="20518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333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Name.surname@woodmac.com</a:t>
            </a:r>
          </a:p>
        </p:txBody>
      </p:sp>
      <p:sp>
        <p:nvSpPr>
          <p:cNvPr id="19" name="Freeform 46"/>
          <p:cNvSpPr>
            <a:spLocks noChangeAspect="1" noEditPoints="1"/>
          </p:cNvSpPr>
          <p:nvPr userDrawn="1"/>
        </p:nvSpPr>
        <p:spPr bwMode="auto">
          <a:xfrm>
            <a:off x="9041318" y="3900748"/>
            <a:ext cx="385325" cy="444061"/>
          </a:xfrm>
          <a:custGeom>
            <a:avLst/>
            <a:gdLst>
              <a:gd name="T0" fmla="*/ 104 w 322"/>
              <a:gd name="T1" fmla="*/ 261 h 371"/>
              <a:gd name="T2" fmla="*/ 96 w 322"/>
              <a:gd name="T3" fmla="*/ 250 h 371"/>
              <a:gd name="T4" fmla="*/ 81 w 322"/>
              <a:gd name="T5" fmla="*/ 244 h 371"/>
              <a:gd name="T6" fmla="*/ 21 w 322"/>
              <a:gd name="T7" fmla="*/ 296 h 371"/>
              <a:gd name="T8" fmla="*/ 21 w 322"/>
              <a:gd name="T9" fmla="*/ 310 h 371"/>
              <a:gd name="T10" fmla="*/ 30 w 322"/>
              <a:gd name="T11" fmla="*/ 322 h 371"/>
              <a:gd name="T12" fmla="*/ 62 w 322"/>
              <a:gd name="T13" fmla="*/ 346 h 371"/>
              <a:gd name="T14" fmla="*/ 95 w 322"/>
              <a:gd name="T15" fmla="*/ 353 h 371"/>
              <a:gd name="T16" fmla="*/ 110 w 322"/>
              <a:gd name="T17" fmla="*/ 347 h 371"/>
              <a:gd name="T18" fmla="*/ 224 w 322"/>
              <a:gd name="T19" fmla="*/ 240 h 371"/>
              <a:gd name="T20" fmla="*/ 303 w 322"/>
              <a:gd name="T21" fmla="*/ 105 h 371"/>
              <a:gd name="T22" fmla="*/ 306 w 322"/>
              <a:gd name="T23" fmla="*/ 88 h 371"/>
              <a:gd name="T24" fmla="*/ 294 w 322"/>
              <a:gd name="T25" fmla="*/ 56 h 371"/>
              <a:gd name="T26" fmla="*/ 264 w 322"/>
              <a:gd name="T27" fmla="*/ 27 h 371"/>
              <a:gd name="T28" fmla="*/ 252 w 322"/>
              <a:gd name="T29" fmla="*/ 21 h 371"/>
              <a:gd name="T30" fmla="*/ 239 w 322"/>
              <a:gd name="T31" fmla="*/ 23 h 371"/>
              <a:gd name="T32" fmla="*/ 201 w 322"/>
              <a:gd name="T33" fmla="*/ 93 h 371"/>
              <a:gd name="T34" fmla="*/ 201 w 322"/>
              <a:gd name="T35" fmla="*/ 99 h 371"/>
              <a:gd name="T36" fmla="*/ 210 w 322"/>
              <a:gd name="T37" fmla="*/ 108 h 371"/>
              <a:gd name="T38" fmla="*/ 221 w 322"/>
              <a:gd name="T39" fmla="*/ 115 h 371"/>
              <a:gd name="T40" fmla="*/ 239 w 322"/>
              <a:gd name="T41" fmla="*/ 149 h 371"/>
              <a:gd name="T42" fmla="*/ 202 w 322"/>
              <a:gd name="T43" fmla="*/ 220 h 371"/>
              <a:gd name="T44" fmla="*/ 141 w 322"/>
              <a:gd name="T45" fmla="*/ 272 h 371"/>
              <a:gd name="T46" fmla="*/ 121 w 322"/>
              <a:gd name="T47" fmla="*/ 273 h 371"/>
              <a:gd name="T48" fmla="*/ 104 w 322"/>
              <a:gd name="T49" fmla="*/ 261 h 371"/>
              <a:gd name="T50" fmla="*/ 116 w 322"/>
              <a:gd name="T51" fmla="*/ 251 h 371"/>
              <a:gd name="T52" fmla="*/ 134 w 322"/>
              <a:gd name="T53" fmla="*/ 257 h 371"/>
              <a:gd name="T54" fmla="*/ 189 w 322"/>
              <a:gd name="T55" fmla="*/ 210 h 371"/>
              <a:gd name="T56" fmla="*/ 223 w 322"/>
              <a:gd name="T57" fmla="*/ 146 h 371"/>
              <a:gd name="T58" fmla="*/ 214 w 322"/>
              <a:gd name="T59" fmla="*/ 129 h 371"/>
              <a:gd name="T60" fmla="*/ 202 w 322"/>
              <a:gd name="T61" fmla="*/ 122 h 371"/>
              <a:gd name="T62" fmla="*/ 187 w 322"/>
              <a:gd name="T63" fmla="*/ 106 h 371"/>
              <a:gd name="T64" fmla="*/ 187 w 322"/>
              <a:gd name="T65" fmla="*/ 86 h 371"/>
              <a:gd name="T66" fmla="*/ 225 w 322"/>
              <a:gd name="T67" fmla="*/ 16 h 371"/>
              <a:gd name="T68" fmla="*/ 259 w 322"/>
              <a:gd name="T69" fmla="*/ 7 h 371"/>
              <a:gd name="T70" fmla="*/ 272 w 322"/>
              <a:gd name="T71" fmla="*/ 13 h 371"/>
              <a:gd name="T72" fmla="*/ 307 w 322"/>
              <a:gd name="T73" fmla="*/ 47 h 371"/>
              <a:gd name="T74" fmla="*/ 322 w 322"/>
              <a:gd name="T75" fmla="*/ 88 h 371"/>
              <a:gd name="T76" fmla="*/ 318 w 322"/>
              <a:gd name="T77" fmla="*/ 111 h 371"/>
              <a:gd name="T78" fmla="*/ 236 w 322"/>
              <a:gd name="T79" fmla="*/ 250 h 371"/>
              <a:gd name="T80" fmla="*/ 119 w 322"/>
              <a:gd name="T81" fmla="*/ 360 h 371"/>
              <a:gd name="T82" fmla="*/ 98 w 322"/>
              <a:gd name="T83" fmla="*/ 368 h 371"/>
              <a:gd name="T84" fmla="*/ 56 w 322"/>
              <a:gd name="T85" fmla="*/ 361 h 371"/>
              <a:gd name="T86" fmla="*/ 17 w 322"/>
              <a:gd name="T87" fmla="*/ 331 h 371"/>
              <a:gd name="T88" fmla="*/ 8 w 322"/>
              <a:gd name="T89" fmla="*/ 320 h 371"/>
              <a:gd name="T90" fmla="*/ 11 w 322"/>
              <a:gd name="T91" fmla="*/ 284 h 371"/>
              <a:gd name="T92" fmla="*/ 71 w 322"/>
              <a:gd name="T93" fmla="*/ 231 h 371"/>
              <a:gd name="T94" fmla="*/ 107 w 322"/>
              <a:gd name="T95" fmla="*/ 239 h 371"/>
              <a:gd name="T96" fmla="*/ 116 w 322"/>
              <a:gd name="T97" fmla="*/ 251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2" h="371">
                <a:moveTo>
                  <a:pt x="104" y="261"/>
                </a:moveTo>
                <a:cubicBezTo>
                  <a:pt x="96" y="250"/>
                  <a:pt x="96" y="250"/>
                  <a:pt x="96" y="250"/>
                </a:cubicBezTo>
                <a:cubicBezTo>
                  <a:pt x="93" y="247"/>
                  <a:pt x="84" y="240"/>
                  <a:pt x="81" y="244"/>
                </a:cubicBezTo>
                <a:cubicBezTo>
                  <a:pt x="21" y="296"/>
                  <a:pt x="21" y="296"/>
                  <a:pt x="21" y="296"/>
                </a:cubicBezTo>
                <a:cubicBezTo>
                  <a:pt x="17" y="300"/>
                  <a:pt x="18" y="306"/>
                  <a:pt x="21" y="310"/>
                </a:cubicBezTo>
                <a:cubicBezTo>
                  <a:pt x="30" y="322"/>
                  <a:pt x="30" y="322"/>
                  <a:pt x="30" y="322"/>
                </a:cubicBezTo>
                <a:cubicBezTo>
                  <a:pt x="38" y="331"/>
                  <a:pt x="49" y="341"/>
                  <a:pt x="62" y="346"/>
                </a:cubicBezTo>
                <a:cubicBezTo>
                  <a:pt x="74" y="352"/>
                  <a:pt x="85" y="354"/>
                  <a:pt x="95" y="353"/>
                </a:cubicBezTo>
                <a:cubicBezTo>
                  <a:pt x="101" y="352"/>
                  <a:pt x="106" y="350"/>
                  <a:pt x="110" y="347"/>
                </a:cubicBezTo>
                <a:cubicBezTo>
                  <a:pt x="149" y="322"/>
                  <a:pt x="189" y="284"/>
                  <a:pt x="224" y="240"/>
                </a:cubicBezTo>
                <a:cubicBezTo>
                  <a:pt x="258" y="197"/>
                  <a:pt x="287" y="149"/>
                  <a:pt x="303" y="105"/>
                </a:cubicBezTo>
                <a:cubicBezTo>
                  <a:pt x="305" y="100"/>
                  <a:pt x="306" y="94"/>
                  <a:pt x="306" y="88"/>
                </a:cubicBezTo>
                <a:cubicBezTo>
                  <a:pt x="306" y="78"/>
                  <a:pt x="301" y="66"/>
                  <a:pt x="294" y="56"/>
                </a:cubicBezTo>
                <a:cubicBezTo>
                  <a:pt x="286" y="44"/>
                  <a:pt x="275" y="33"/>
                  <a:pt x="264" y="27"/>
                </a:cubicBezTo>
                <a:cubicBezTo>
                  <a:pt x="252" y="21"/>
                  <a:pt x="252" y="21"/>
                  <a:pt x="252" y="21"/>
                </a:cubicBezTo>
                <a:cubicBezTo>
                  <a:pt x="247" y="18"/>
                  <a:pt x="241" y="18"/>
                  <a:pt x="239" y="23"/>
                </a:cubicBezTo>
                <a:cubicBezTo>
                  <a:pt x="201" y="93"/>
                  <a:pt x="201" y="93"/>
                  <a:pt x="201" y="93"/>
                </a:cubicBezTo>
                <a:cubicBezTo>
                  <a:pt x="200" y="95"/>
                  <a:pt x="200" y="97"/>
                  <a:pt x="201" y="99"/>
                </a:cubicBezTo>
                <a:cubicBezTo>
                  <a:pt x="203" y="103"/>
                  <a:pt x="206" y="106"/>
                  <a:pt x="210" y="108"/>
                </a:cubicBezTo>
                <a:cubicBezTo>
                  <a:pt x="221" y="115"/>
                  <a:pt x="221" y="115"/>
                  <a:pt x="221" y="115"/>
                </a:cubicBezTo>
                <a:cubicBezTo>
                  <a:pt x="233" y="121"/>
                  <a:pt x="242" y="135"/>
                  <a:pt x="239" y="149"/>
                </a:cubicBezTo>
                <a:cubicBezTo>
                  <a:pt x="234" y="172"/>
                  <a:pt x="220" y="197"/>
                  <a:pt x="202" y="220"/>
                </a:cubicBezTo>
                <a:cubicBezTo>
                  <a:pt x="184" y="243"/>
                  <a:pt x="161" y="262"/>
                  <a:pt x="141" y="272"/>
                </a:cubicBezTo>
                <a:cubicBezTo>
                  <a:pt x="134" y="275"/>
                  <a:pt x="127" y="275"/>
                  <a:pt x="121" y="273"/>
                </a:cubicBezTo>
                <a:cubicBezTo>
                  <a:pt x="114" y="271"/>
                  <a:pt x="108" y="267"/>
                  <a:pt x="104" y="261"/>
                </a:cubicBezTo>
                <a:close/>
                <a:moveTo>
                  <a:pt x="116" y="251"/>
                </a:moveTo>
                <a:cubicBezTo>
                  <a:pt x="120" y="256"/>
                  <a:pt x="128" y="260"/>
                  <a:pt x="134" y="257"/>
                </a:cubicBezTo>
                <a:cubicBezTo>
                  <a:pt x="152" y="249"/>
                  <a:pt x="173" y="231"/>
                  <a:pt x="189" y="210"/>
                </a:cubicBezTo>
                <a:cubicBezTo>
                  <a:pt x="206" y="189"/>
                  <a:pt x="219" y="166"/>
                  <a:pt x="223" y="146"/>
                </a:cubicBezTo>
                <a:cubicBezTo>
                  <a:pt x="224" y="139"/>
                  <a:pt x="220" y="132"/>
                  <a:pt x="214" y="129"/>
                </a:cubicBezTo>
                <a:cubicBezTo>
                  <a:pt x="202" y="122"/>
                  <a:pt x="202" y="122"/>
                  <a:pt x="202" y="122"/>
                </a:cubicBezTo>
                <a:cubicBezTo>
                  <a:pt x="196" y="119"/>
                  <a:pt x="190" y="113"/>
                  <a:pt x="187" y="106"/>
                </a:cubicBezTo>
                <a:cubicBezTo>
                  <a:pt x="184" y="100"/>
                  <a:pt x="183" y="93"/>
                  <a:pt x="187" y="86"/>
                </a:cubicBezTo>
                <a:cubicBezTo>
                  <a:pt x="225" y="16"/>
                  <a:pt x="225" y="16"/>
                  <a:pt x="225" y="16"/>
                </a:cubicBezTo>
                <a:cubicBezTo>
                  <a:pt x="232" y="3"/>
                  <a:pt x="246" y="0"/>
                  <a:pt x="259" y="7"/>
                </a:cubicBezTo>
                <a:cubicBezTo>
                  <a:pt x="272" y="13"/>
                  <a:pt x="272" y="13"/>
                  <a:pt x="272" y="13"/>
                </a:cubicBezTo>
                <a:cubicBezTo>
                  <a:pt x="285" y="21"/>
                  <a:pt x="298" y="33"/>
                  <a:pt x="307" y="47"/>
                </a:cubicBezTo>
                <a:cubicBezTo>
                  <a:pt x="316" y="60"/>
                  <a:pt x="322" y="74"/>
                  <a:pt x="322" y="88"/>
                </a:cubicBezTo>
                <a:cubicBezTo>
                  <a:pt x="322" y="96"/>
                  <a:pt x="321" y="103"/>
                  <a:pt x="318" y="111"/>
                </a:cubicBezTo>
                <a:cubicBezTo>
                  <a:pt x="302" y="156"/>
                  <a:pt x="272" y="206"/>
                  <a:pt x="236" y="250"/>
                </a:cubicBezTo>
                <a:cubicBezTo>
                  <a:pt x="201" y="295"/>
                  <a:pt x="159" y="335"/>
                  <a:pt x="119" y="360"/>
                </a:cubicBezTo>
                <a:cubicBezTo>
                  <a:pt x="113" y="364"/>
                  <a:pt x="106" y="367"/>
                  <a:pt x="98" y="368"/>
                </a:cubicBezTo>
                <a:cubicBezTo>
                  <a:pt x="85" y="371"/>
                  <a:pt x="70" y="367"/>
                  <a:pt x="56" y="361"/>
                </a:cubicBezTo>
                <a:cubicBezTo>
                  <a:pt x="41" y="354"/>
                  <a:pt x="27" y="343"/>
                  <a:pt x="17" y="331"/>
                </a:cubicBezTo>
                <a:cubicBezTo>
                  <a:pt x="8" y="320"/>
                  <a:pt x="8" y="320"/>
                  <a:pt x="8" y="320"/>
                </a:cubicBezTo>
                <a:cubicBezTo>
                  <a:pt x="0" y="309"/>
                  <a:pt x="0" y="293"/>
                  <a:pt x="11" y="284"/>
                </a:cubicBezTo>
                <a:cubicBezTo>
                  <a:pt x="16" y="279"/>
                  <a:pt x="71" y="231"/>
                  <a:pt x="71" y="231"/>
                </a:cubicBezTo>
                <a:cubicBezTo>
                  <a:pt x="82" y="222"/>
                  <a:pt x="99" y="229"/>
                  <a:pt x="107" y="239"/>
                </a:cubicBezTo>
                <a:cubicBezTo>
                  <a:pt x="110" y="243"/>
                  <a:pt x="113" y="247"/>
                  <a:pt x="11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reeform 41"/>
          <p:cNvSpPr>
            <a:spLocks noChangeAspect="1" noEditPoints="1"/>
          </p:cNvSpPr>
          <p:nvPr userDrawn="1"/>
        </p:nvSpPr>
        <p:spPr bwMode="auto">
          <a:xfrm>
            <a:off x="9041318" y="3247561"/>
            <a:ext cx="459559" cy="300912"/>
          </a:xfrm>
          <a:custGeom>
            <a:avLst/>
            <a:gdLst>
              <a:gd name="T0" fmla="*/ 392 w 416"/>
              <a:gd name="T1" fmla="*/ 256 h 272"/>
              <a:gd name="T2" fmla="*/ 256 w 416"/>
              <a:gd name="T3" fmla="*/ 162 h 272"/>
              <a:gd name="T4" fmla="*/ 228 w 416"/>
              <a:gd name="T5" fmla="*/ 185 h 272"/>
              <a:gd name="T6" fmla="*/ 188 w 416"/>
              <a:gd name="T7" fmla="*/ 185 h 272"/>
              <a:gd name="T8" fmla="*/ 159 w 416"/>
              <a:gd name="T9" fmla="*/ 162 h 272"/>
              <a:gd name="T10" fmla="*/ 24 w 416"/>
              <a:gd name="T11" fmla="*/ 256 h 272"/>
              <a:gd name="T12" fmla="*/ 392 w 416"/>
              <a:gd name="T13" fmla="*/ 256 h 272"/>
              <a:gd name="T14" fmla="*/ 16 w 416"/>
              <a:gd name="T15" fmla="*/ 242 h 272"/>
              <a:gd name="T16" fmla="*/ 146 w 416"/>
              <a:gd name="T17" fmla="*/ 152 h 272"/>
              <a:gd name="T18" fmla="*/ 16 w 416"/>
              <a:gd name="T19" fmla="*/ 46 h 272"/>
              <a:gd name="T20" fmla="*/ 16 w 416"/>
              <a:gd name="T21" fmla="*/ 242 h 272"/>
              <a:gd name="T22" fmla="*/ 16 w 416"/>
              <a:gd name="T23" fmla="*/ 16 h 272"/>
              <a:gd name="T24" fmla="*/ 16 w 416"/>
              <a:gd name="T25" fmla="*/ 23 h 272"/>
              <a:gd name="T26" fmla="*/ 18 w 416"/>
              <a:gd name="T27" fmla="*/ 28 h 272"/>
              <a:gd name="T28" fmla="*/ 198 w 416"/>
              <a:gd name="T29" fmla="*/ 172 h 272"/>
              <a:gd name="T30" fmla="*/ 218 w 416"/>
              <a:gd name="T31" fmla="*/ 172 h 272"/>
              <a:gd name="T32" fmla="*/ 397 w 416"/>
              <a:gd name="T33" fmla="*/ 28 h 272"/>
              <a:gd name="T34" fmla="*/ 400 w 416"/>
              <a:gd name="T35" fmla="*/ 24 h 272"/>
              <a:gd name="T36" fmla="*/ 400 w 416"/>
              <a:gd name="T37" fmla="*/ 16 h 272"/>
              <a:gd name="T38" fmla="*/ 16 w 416"/>
              <a:gd name="T39" fmla="*/ 16 h 272"/>
              <a:gd name="T40" fmla="*/ 416 w 416"/>
              <a:gd name="T41" fmla="*/ 272 h 272"/>
              <a:gd name="T42" fmla="*/ 0 w 416"/>
              <a:gd name="T43" fmla="*/ 272 h 272"/>
              <a:gd name="T44" fmla="*/ 0 w 416"/>
              <a:gd name="T45" fmla="*/ 0 h 272"/>
              <a:gd name="T46" fmla="*/ 416 w 416"/>
              <a:gd name="T47" fmla="*/ 0 h 272"/>
              <a:gd name="T48" fmla="*/ 416 w 416"/>
              <a:gd name="T49" fmla="*/ 272 h 272"/>
              <a:gd name="T50" fmla="*/ 400 w 416"/>
              <a:gd name="T51" fmla="*/ 46 h 272"/>
              <a:gd name="T52" fmla="*/ 269 w 416"/>
              <a:gd name="T53" fmla="*/ 152 h 272"/>
              <a:gd name="T54" fmla="*/ 400 w 416"/>
              <a:gd name="T55" fmla="*/ 242 h 272"/>
              <a:gd name="T56" fmla="*/ 400 w 416"/>
              <a:gd name="T57" fmla="*/ 46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16" h="272">
                <a:moveTo>
                  <a:pt x="392" y="256"/>
                </a:moveTo>
                <a:cubicBezTo>
                  <a:pt x="256" y="162"/>
                  <a:pt x="256" y="162"/>
                  <a:pt x="256" y="162"/>
                </a:cubicBezTo>
                <a:cubicBezTo>
                  <a:pt x="228" y="185"/>
                  <a:pt x="228" y="185"/>
                  <a:pt x="228" y="185"/>
                </a:cubicBezTo>
                <a:cubicBezTo>
                  <a:pt x="216" y="194"/>
                  <a:pt x="200" y="194"/>
                  <a:pt x="188" y="185"/>
                </a:cubicBezTo>
                <a:cubicBezTo>
                  <a:pt x="159" y="162"/>
                  <a:pt x="159" y="162"/>
                  <a:pt x="159" y="162"/>
                </a:cubicBezTo>
                <a:cubicBezTo>
                  <a:pt x="24" y="256"/>
                  <a:pt x="24" y="256"/>
                  <a:pt x="24" y="256"/>
                </a:cubicBezTo>
                <a:lnTo>
                  <a:pt x="392" y="256"/>
                </a:lnTo>
                <a:close/>
                <a:moveTo>
                  <a:pt x="16" y="242"/>
                </a:moveTo>
                <a:cubicBezTo>
                  <a:pt x="146" y="152"/>
                  <a:pt x="146" y="152"/>
                  <a:pt x="146" y="152"/>
                </a:cubicBezTo>
                <a:cubicBezTo>
                  <a:pt x="16" y="46"/>
                  <a:pt x="16" y="46"/>
                  <a:pt x="16" y="46"/>
                </a:cubicBezTo>
                <a:lnTo>
                  <a:pt x="16" y="242"/>
                </a:lnTo>
                <a:close/>
                <a:moveTo>
                  <a:pt x="16" y="16"/>
                </a:moveTo>
                <a:cubicBezTo>
                  <a:pt x="16" y="23"/>
                  <a:pt x="16" y="23"/>
                  <a:pt x="16" y="23"/>
                </a:cubicBezTo>
                <a:cubicBezTo>
                  <a:pt x="16" y="25"/>
                  <a:pt x="16" y="26"/>
                  <a:pt x="18" y="28"/>
                </a:cubicBezTo>
                <a:cubicBezTo>
                  <a:pt x="198" y="172"/>
                  <a:pt x="198" y="172"/>
                  <a:pt x="198" y="172"/>
                </a:cubicBezTo>
                <a:cubicBezTo>
                  <a:pt x="204" y="177"/>
                  <a:pt x="212" y="177"/>
                  <a:pt x="218" y="172"/>
                </a:cubicBezTo>
                <a:cubicBezTo>
                  <a:pt x="397" y="28"/>
                  <a:pt x="397" y="28"/>
                  <a:pt x="397" y="28"/>
                </a:cubicBezTo>
                <a:cubicBezTo>
                  <a:pt x="398" y="27"/>
                  <a:pt x="399" y="26"/>
                  <a:pt x="400" y="24"/>
                </a:cubicBezTo>
                <a:cubicBezTo>
                  <a:pt x="400" y="16"/>
                  <a:pt x="400" y="16"/>
                  <a:pt x="400" y="16"/>
                </a:cubicBezTo>
                <a:lnTo>
                  <a:pt x="16" y="16"/>
                </a:lnTo>
                <a:close/>
                <a:moveTo>
                  <a:pt x="416" y="272"/>
                </a:moveTo>
                <a:cubicBezTo>
                  <a:pt x="0" y="272"/>
                  <a:pt x="0" y="272"/>
                  <a:pt x="0" y="272"/>
                </a:cubicBezTo>
                <a:cubicBezTo>
                  <a:pt x="0" y="0"/>
                  <a:pt x="0" y="0"/>
                  <a:pt x="0" y="0"/>
                </a:cubicBezTo>
                <a:cubicBezTo>
                  <a:pt x="416" y="0"/>
                  <a:pt x="416" y="0"/>
                  <a:pt x="416" y="0"/>
                </a:cubicBezTo>
                <a:cubicBezTo>
                  <a:pt x="416" y="91"/>
                  <a:pt x="416" y="181"/>
                  <a:pt x="416" y="272"/>
                </a:cubicBezTo>
                <a:close/>
                <a:moveTo>
                  <a:pt x="400" y="46"/>
                </a:moveTo>
                <a:cubicBezTo>
                  <a:pt x="269" y="152"/>
                  <a:pt x="269" y="152"/>
                  <a:pt x="269" y="152"/>
                </a:cubicBezTo>
                <a:cubicBezTo>
                  <a:pt x="400" y="242"/>
                  <a:pt x="400" y="242"/>
                  <a:pt x="400" y="242"/>
                </a:cubicBezTo>
                <a:lnTo>
                  <a:pt x="400" y="4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576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36702877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6002" y="384000"/>
            <a:ext cx="11331717" cy="601381"/>
          </a:xfrm>
        </p:spPr>
        <p:txBody>
          <a:bodyPr anchor="t" anchorCtr="0"/>
          <a:lstStyle>
            <a:lvl1pPr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Title – Arial Bold, 19pt, R6 G53 B12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6002" y="1006473"/>
            <a:ext cx="11331717" cy="552000"/>
          </a:xfrm>
          <a:prstGeom prst="rect">
            <a:avLst/>
          </a:prstGeom>
        </p:spPr>
        <p:txBody>
          <a:bodyPr lIns="0" tIns="38958" rIns="77916" bIns="38958" anchor="t" anchorCtr="0"/>
          <a:lstStyle>
            <a:lvl1pPr marL="0" indent="0" rtl="0">
              <a:lnSpc>
                <a:spcPts val="2133"/>
              </a:lnSpc>
              <a:buNone/>
              <a:defRPr lang="en-GB" sz="2133" b="0" i="0" u="none" strike="noStrike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GB" dirty="0"/>
              <a:t>Sub heading – Arial, 16pt, R0 G164 B227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6000" y="122402"/>
            <a:ext cx="8861539" cy="181305"/>
          </a:xfrm>
          <a:prstGeom prst="rect">
            <a:avLst/>
          </a:prstGeom>
        </p:spPr>
        <p:txBody>
          <a:bodyPr lIns="0" tIns="39879" rIns="0" bIns="39879">
            <a:noAutofit/>
          </a:bodyPr>
          <a:lstStyle>
            <a:lvl1pPr marL="0" indent="0">
              <a:buFontTx/>
              <a:buNone/>
              <a:defRPr sz="1067" b="0" cap="none" baseline="0">
                <a:solidFill>
                  <a:schemeClr val="accent2"/>
                </a:solidFill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6000" y="6588003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4197884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– Arial Bold, 19pt, R6 G53 B122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indent="0">
              <a:buFontTx/>
              <a:buNone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6493" y="1044000"/>
            <a:ext cx="11367155" cy="558000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</p:spTree>
    <p:extLst>
      <p:ext uri="{BB962C8B-B14F-4D97-AF65-F5344CB8AC3E}">
        <p14:creationId xmlns:p14="http://schemas.microsoft.com/office/powerpoint/2010/main" val="713714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heading and Text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hlinkClick r:id="rId6"/>
          </p:cNvPr>
          <p:cNvSpPr/>
          <p:nvPr/>
        </p:nvSpPr>
        <p:spPr>
          <a:xfrm>
            <a:off x="10355885" y="150465"/>
            <a:ext cx="991192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6494" y="396000"/>
            <a:ext cx="11367153" cy="651149"/>
          </a:xfrm>
        </p:spPr>
        <p:txBody>
          <a:bodyPr bIns="0" anchor="t" anchorCtr="0">
            <a:noAutofit/>
          </a:bodyPr>
          <a:lstStyle>
            <a:lvl1pPr>
              <a:defRPr sz="2533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19pt, R6 G53 B122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6493" y="1044001"/>
            <a:ext cx="11367155" cy="558297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indent="0">
              <a:buFontTx/>
              <a:buNone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16491" y="1600778"/>
            <a:ext cx="11369353" cy="4834948"/>
          </a:xfrm>
          <a:prstGeom prst="rect">
            <a:avLst/>
          </a:prstGeom>
        </p:spPr>
        <p:txBody>
          <a:bodyPr lIns="0" tIns="0" rIns="0" bIns="0"/>
          <a:lstStyle>
            <a:lvl1pPr marL="304839" indent="-304839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2"/>
              </a:buClr>
              <a:buSzPct val="100000"/>
              <a:buFont typeface="Wingdings 2" panose="05020102010507070707" pitchFamily="18" charset="2"/>
              <a:buChar char=""/>
              <a:defRPr sz="20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05058" indent="-200220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867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714297" indent="-209239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6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914516" indent="-200220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333" b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125557" indent="-211043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200" b="1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219354" indent="-200220">
              <a:spcBef>
                <a:spcPts val="227"/>
              </a:spcBef>
              <a:spcAft>
                <a:spcPts val="568"/>
              </a:spcAft>
              <a:defRPr baseline="0">
                <a:latin typeface="+mn-lt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8170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ingl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hlinkClick r:id="rId6"/>
          </p:cNvPr>
          <p:cNvSpPr/>
          <p:nvPr/>
        </p:nvSpPr>
        <p:spPr>
          <a:xfrm>
            <a:off x="10345561" y="158854"/>
            <a:ext cx="991192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16492" y="2052000"/>
            <a:ext cx="11342769" cy="43837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GB" dirty="0"/>
              <a:t>Click to add object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17542" y="396000"/>
            <a:ext cx="11356919" cy="651149"/>
          </a:xfrm>
        </p:spPr>
        <p:txBody>
          <a:bodyPr anchor="t" anchorCtr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19pt, R6 G53 B122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18125" y="1044000"/>
            <a:ext cx="11355753" cy="558000"/>
          </a:xfrm>
          <a:prstGeom prst="rect">
            <a:avLst/>
          </a:prstGeom>
        </p:spPr>
        <p:txBody>
          <a:bodyPr lIns="0" tIns="38963" rIns="77925" bIns="38963"/>
          <a:lstStyle>
            <a:lvl1pPr>
              <a:lnSpc>
                <a:spcPts val="2133"/>
              </a:lnSpc>
              <a:defRPr sz="2133" b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6493" y="1602000"/>
            <a:ext cx="11342769" cy="432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</p:spTree>
    <p:extLst>
      <p:ext uri="{BB962C8B-B14F-4D97-AF65-F5344CB8AC3E}">
        <p14:creationId xmlns:p14="http://schemas.microsoft.com/office/powerpoint/2010/main" val="4101559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single chart by side text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6493" y="1602000"/>
            <a:ext cx="5582769" cy="432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6200878" y="1600778"/>
            <a:ext cx="5582769" cy="4834948"/>
          </a:xfrm>
          <a:prstGeom prst="rect">
            <a:avLst/>
          </a:prstGeom>
        </p:spPr>
        <p:txBody>
          <a:bodyPr lIns="0" tIns="0" rIns="0" bIns="0"/>
          <a:lstStyle>
            <a:lvl1pPr marL="304839" indent="-304839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2"/>
              </a:buClr>
              <a:buSzPct val="100000"/>
              <a:buFont typeface="Wingdings 2" panose="05020102010507070707" pitchFamily="18" charset="2"/>
              <a:buChar char=""/>
              <a:defRPr sz="20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05058" indent="-200220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867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714297" indent="-209239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6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914516" indent="-200220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333" b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125557" indent="-211043" defTabSz="499648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200" b="1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219354" indent="-200220">
              <a:spcBef>
                <a:spcPts val="227"/>
              </a:spcBef>
              <a:spcAft>
                <a:spcPts val="568"/>
              </a:spcAft>
              <a:defRPr baseline="0">
                <a:latin typeface="+mn-lt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16492" y="2052000"/>
            <a:ext cx="5582283" cy="4379483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19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18125" y="1044000"/>
            <a:ext cx="11355753" cy="558000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4" name="Rectangle 13">
            <a:hlinkClick r:id="rId6"/>
          </p:cNvPr>
          <p:cNvSpPr/>
          <p:nvPr/>
        </p:nvSpPr>
        <p:spPr>
          <a:xfrm>
            <a:off x="10335236" y="150465"/>
            <a:ext cx="991192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632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6493" y="1602000"/>
            <a:ext cx="5582769" cy="432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16492" y="2052000"/>
            <a:ext cx="5582283" cy="4383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19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18125" y="1044000"/>
            <a:ext cx="11355753" cy="558000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203077" y="2052000"/>
            <a:ext cx="5582283" cy="4383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4" name="Rectangle 13">
            <a:hlinkClick r:id="rId6"/>
          </p:cNvPr>
          <p:cNvSpPr/>
          <p:nvPr/>
        </p:nvSpPr>
        <p:spPr>
          <a:xfrm>
            <a:off x="10355885" y="150465"/>
            <a:ext cx="991192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03078" y="1602000"/>
            <a:ext cx="5582769" cy="432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</p:spTree>
    <p:extLst>
      <p:ext uri="{BB962C8B-B14F-4D97-AF65-F5344CB8AC3E}">
        <p14:creationId xmlns:p14="http://schemas.microsoft.com/office/powerpoint/2010/main" val="32606770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with Chart Tit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263215" y="1602002"/>
            <a:ext cx="3677539" cy="458575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108308" y="1602002"/>
            <a:ext cx="3677539" cy="458575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418123" y="1602002"/>
            <a:ext cx="3677539" cy="458575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16491" y="2160000"/>
            <a:ext cx="3677539" cy="4275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19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18125" y="1044000"/>
            <a:ext cx="11355753" cy="558000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indent="0">
              <a:buFontTx/>
              <a:buNone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2" hasCustomPrompt="1"/>
          </p:nvPr>
        </p:nvSpPr>
        <p:spPr>
          <a:xfrm>
            <a:off x="4262400" y="2160000"/>
            <a:ext cx="3677539" cy="4275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3" hasCustomPrompt="1"/>
          </p:nvPr>
        </p:nvSpPr>
        <p:spPr>
          <a:xfrm>
            <a:off x="8108308" y="2160000"/>
            <a:ext cx="3677539" cy="4275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6" name="Rectangle 15">
            <a:hlinkClick r:id="rId6"/>
          </p:cNvPr>
          <p:cNvSpPr/>
          <p:nvPr/>
        </p:nvSpPr>
        <p:spPr>
          <a:xfrm>
            <a:off x="10324911" y="150465"/>
            <a:ext cx="991192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999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 with Chart tit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16492" y="4046499"/>
            <a:ext cx="5582769" cy="324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03078" y="4046499"/>
            <a:ext cx="5582769" cy="324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416493" y="1602000"/>
            <a:ext cx="5582769" cy="324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03078" y="1602000"/>
            <a:ext cx="5582769" cy="324000"/>
          </a:xfrm>
          <a:prstGeom prst="rect">
            <a:avLst/>
          </a:prstGeom>
        </p:spPr>
        <p:txBody>
          <a:bodyPr lIns="0" tIns="0" rIns="77925" bIns="38963">
            <a:noAutofit/>
          </a:bodyPr>
          <a:lstStyle>
            <a:lvl1pPr marL="0" indent="0">
              <a:lnSpc>
                <a:spcPct val="100000"/>
              </a:lnSpc>
              <a:buNone/>
              <a:defRPr sz="1867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Chart title – Arial Bold, 14pt, R6 G53 B12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16492" y="1944000"/>
            <a:ext cx="5582283" cy="2047227"/>
          </a:xfrm>
          <a:prstGeom prst="rect">
            <a:avLst/>
          </a:prstGeom>
          <a:noFill/>
        </p:spPr>
        <p:txBody>
          <a:bodyPr lIns="0" tIns="0" rIns="76698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19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18125" y="1044000"/>
            <a:ext cx="11355753" cy="558000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205631" indent="0">
              <a:buNone/>
              <a:defRPr/>
            </a:lvl2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indent="0">
              <a:buFontTx/>
              <a:buNone/>
              <a:defRPr sz="1067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203077" y="1944000"/>
            <a:ext cx="5582283" cy="2047227"/>
          </a:xfrm>
          <a:prstGeom prst="rect">
            <a:avLst/>
          </a:prstGeom>
          <a:noFill/>
        </p:spPr>
        <p:txBody>
          <a:bodyPr lIns="0" tIns="0" rIns="76698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16492" y="4388499"/>
            <a:ext cx="5582283" cy="2047227"/>
          </a:xfrm>
          <a:prstGeom prst="rect">
            <a:avLst/>
          </a:prstGeom>
          <a:noFill/>
        </p:spPr>
        <p:txBody>
          <a:bodyPr lIns="0" tIns="0" rIns="76698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1" hasCustomPrompt="1"/>
          </p:nvPr>
        </p:nvSpPr>
        <p:spPr>
          <a:xfrm>
            <a:off x="6203077" y="4388499"/>
            <a:ext cx="5582283" cy="2047227"/>
          </a:xfrm>
          <a:prstGeom prst="rect">
            <a:avLst/>
          </a:prstGeom>
          <a:noFill/>
        </p:spPr>
        <p:txBody>
          <a:bodyPr lIns="0" tIns="0" rIns="76698" bIns="0"/>
          <a:lstStyle>
            <a:lvl1pPr marL="0" marR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09458" indent="-209239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867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609677" indent="-200220">
              <a:lnSpc>
                <a:spcPct val="100000"/>
              </a:lnSpc>
              <a:spcBef>
                <a:spcPts val="436"/>
              </a:spcBef>
              <a:spcAft>
                <a:spcPts val="681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818916" indent="-209239">
              <a:lnSpc>
                <a:spcPct val="100000"/>
              </a:lnSpc>
              <a:spcBef>
                <a:spcPts val="327"/>
              </a:spcBef>
              <a:spcAft>
                <a:spcPts val="681"/>
              </a:spcAft>
              <a:buFont typeface="Arial" pitchFamily="34" charset="0"/>
              <a:buChar char="»"/>
              <a:defRPr sz="1333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019136" indent="-200220">
              <a:lnSpc>
                <a:spcPct val="100000"/>
              </a:lnSpc>
              <a:spcBef>
                <a:spcPts val="273"/>
              </a:spcBef>
              <a:spcAft>
                <a:spcPts val="681"/>
              </a:spcAft>
              <a:buFont typeface="Arial" pitchFamily="34" charset="0"/>
              <a:buChar char="»"/>
              <a:defRPr sz="12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519488" rtl="0" eaLnBrk="1" fontAlgn="auto" latinLnBrk="0" hangingPunct="1">
              <a:lnSpc>
                <a:spcPct val="100000"/>
              </a:lnSpc>
              <a:spcBef>
                <a:spcPts val="227"/>
              </a:spcBef>
              <a:spcAft>
                <a:spcPts val="681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8" name="Rectangle 17">
            <a:hlinkClick r:id="rId6"/>
          </p:cNvPr>
          <p:cNvSpPr/>
          <p:nvPr/>
        </p:nvSpPr>
        <p:spPr>
          <a:xfrm>
            <a:off x="10366211" y="150465"/>
            <a:ext cx="991192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049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heading, text box dark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477" cy="687923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4790" y="133200"/>
            <a:ext cx="299741" cy="2976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6" imgW="572" imgH="429" progId="TCLayout.ActiveDocument.1">
                  <p:embed/>
                </p:oleObj>
              </mc:Choice>
              <mc:Fallback>
                <p:oleObj name="think-cell Slide" r:id="rId6" imgW="572" imgH="42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416491" y="1600778"/>
            <a:ext cx="11369353" cy="4834948"/>
          </a:xfrm>
          <a:prstGeom prst="rect">
            <a:avLst/>
          </a:prstGeom>
        </p:spPr>
        <p:txBody>
          <a:bodyPr lIns="0" tIns="0" rIns="0" bIns="0"/>
          <a:lstStyle>
            <a:lvl1pPr marL="304839" indent="-304839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bg1"/>
              </a:buClr>
              <a:buSzPct val="100000"/>
              <a:buFont typeface="Wingdings 2" panose="05020102010507070707" pitchFamily="18" charset="2"/>
              <a:buChar char=""/>
              <a:defRPr sz="2000" b="0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505058" indent="-200220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»"/>
              <a:defRPr sz="1867" b="0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714297" indent="-209239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»"/>
              <a:defRPr sz="1600" b="0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914516" indent="-200220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333" b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1125557" indent="-211043">
              <a:lnSpc>
                <a:spcPct val="100000"/>
              </a:lnSpc>
              <a:spcBef>
                <a:spcPts val="227"/>
              </a:spcBef>
              <a:spcAft>
                <a:spcPts val="568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200" b="1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219354" indent="-200220">
              <a:spcBef>
                <a:spcPts val="227"/>
              </a:spcBef>
              <a:spcAft>
                <a:spcPts val="568"/>
              </a:spcAft>
              <a:defRPr baseline="0">
                <a:latin typeface="+mn-lt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2064" y="396000"/>
            <a:ext cx="11371585" cy="651149"/>
          </a:xfrm>
        </p:spPr>
        <p:txBody>
          <a:bodyPr bIns="0" anchor="t" anchorCtr="0">
            <a:noAutofit/>
          </a:bodyPr>
          <a:lstStyle>
            <a:lvl1pPr>
              <a:defRPr sz="25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19pt, R6 G53 B122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2064" y="1044000"/>
            <a:ext cx="11371585" cy="558000"/>
          </a:xfrm>
          <a:prstGeom prst="rect">
            <a:avLst/>
          </a:prstGeom>
        </p:spPr>
        <p:txBody>
          <a:bodyPr lIns="0" tIns="38963" rIns="77925" bIns="38963">
            <a:noAutofit/>
          </a:bodyPr>
          <a:lstStyle>
            <a:lvl1pPr marL="0" indent="0">
              <a:lnSpc>
                <a:spcPts val="2133"/>
              </a:lnSpc>
              <a:buNone/>
              <a:defRPr sz="2133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6pt, R0 G164 B227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12061" y="122401"/>
            <a:ext cx="8861539" cy="181305"/>
          </a:xfrm>
          <a:prstGeom prst="rect">
            <a:avLst/>
          </a:prstGeom>
        </p:spPr>
        <p:txBody>
          <a:bodyPr lIns="0" tIns="39883" rIns="0" bIns="39883">
            <a:noAutofit/>
          </a:bodyPr>
          <a:lstStyle>
            <a:lvl1pPr marL="0" indent="0">
              <a:buFontTx/>
              <a:buNone/>
              <a:defRPr sz="1067" b="1" cap="none" baseline="0">
                <a:solidFill>
                  <a:schemeClr val="bg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16492" y="6588002"/>
            <a:ext cx="8861539" cy="14362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933" b="0" i="0" cap="none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1559537" y="6586314"/>
            <a:ext cx="214923" cy="1435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fld id="{794AB575-7986-1741-A4D9-8B601F7D4868}" type="slidenum">
              <a:rPr lang="en-US" sz="933" b="1" baseline="0" smtClean="0">
                <a:solidFill>
                  <a:schemeClr val="bg1"/>
                </a:solidFill>
              </a:rPr>
              <a:t>‹#›</a:t>
            </a:fld>
            <a:endParaRPr lang="en-US" sz="933" b="1" baseline="0" dirty="0">
              <a:solidFill>
                <a:schemeClr val="bg1"/>
              </a:solidFill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10384870" y="174308"/>
            <a:ext cx="880049" cy="16421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1067" b="0" i="0" u="none" strike="noStrike" baseline="0" dirty="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21" name="Rectangle 20">
            <a:hlinkClick r:id="rId8"/>
          </p:cNvPr>
          <p:cNvSpPr/>
          <p:nvPr userDrawn="1"/>
        </p:nvSpPr>
        <p:spPr>
          <a:xfrm>
            <a:off x="10354649" y="173863"/>
            <a:ext cx="984296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0022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hyperlink" Target="http://www.woodmac.com/" TargetMode="Externa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8436" y="127951"/>
            <a:ext cx="306025" cy="3024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56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7" imgW="572" imgH="429" progId="TCLayout.ActiveDocument.1">
                  <p:embed/>
                </p:oleObj>
              </mc:Choice>
              <mc:Fallback>
                <p:oleObj name="think-cell Slide" r:id="rId17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6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7542" y="396000"/>
            <a:ext cx="11356919" cy="651149"/>
          </a:xfrm>
          <a:prstGeom prst="rect">
            <a:avLst/>
          </a:prstGeom>
          <a:noFill/>
          <a:ln>
            <a:noFill/>
          </a:ln>
        </p:spPr>
        <p:txBody>
          <a:bodyPr vert="horz" lIns="0" tIns="38963" rIns="77925" bIns="0" rtlCol="0" anchor="t" anchorCtr="0">
            <a:noAutofit/>
          </a:bodyPr>
          <a:lstStyle/>
          <a:p>
            <a:pPr rtl="0"/>
            <a:r>
              <a:rPr lang="en-GB" dirty="0"/>
              <a:t>Title – Arial Bold, 19pt, R6 G53 B12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1559537" y="6586314"/>
            <a:ext cx="214923" cy="14356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fld id="{794AB575-7986-1741-A4D9-8B601F7D4868}" type="slidenum">
              <a:rPr lang="en-US" sz="933" b="1" baseline="0" smtClean="0">
                <a:solidFill>
                  <a:srgbClr val="006BA6"/>
                </a:solidFill>
              </a:rPr>
              <a:t>‹#›</a:t>
            </a:fld>
            <a:endParaRPr lang="en-US" sz="933" b="1" baseline="0" dirty="0">
              <a:solidFill>
                <a:srgbClr val="006BA6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0384870" y="174730"/>
            <a:ext cx="880049" cy="16421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1067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14" name="Rectangle 13">
            <a:hlinkClick r:id="rId19"/>
          </p:cNvPr>
          <p:cNvSpPr/>
          <p:nvPr/>
        </p:nvSpPr>
        <p:spPr>
          <a:xfrm>
            <a:off x="10340851" y="157193"/>
            <a:ext cx="940696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en-GB" sz="2400" baseline="0" dirty="0">
              <a:solidFill>
                <a:srgbClr val="006BA6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30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marL="0" marR="0" indent="0" algn="l" defTabSz="519488" rtl="0" eaLnBrk="1" fontAlgn="auto" latinLnBrk="0" hangingPunct="1">
        <a:lnSpc>
          <a:spcPts val="25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GB" sz="2533" b="1" i="0" u="none" strike="noStrike" kern="1200" baseline="0" smtClean="0">
          <a:solidFill>
            <a:schemeClr val="accent2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marR="0" indent="0" algn="l" defTabSz="519488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en-GB" sz="2000" b="1" i="0" u="none" strike="noStrike" kern="1200" baseline="0" smtClean="0">
          <a:solidFill>
            <a:srgbClr val="082566"/>
          </a:solidFill>
          <a:latin typeface="+mn-lt"/>
          <a:ea typeface="+mn-ea"/>
          <a:cs typeface="+mn-cs"/>
        </a:defRPr>
      </a:lvl1pPr>
      <a:lvl2pPr marL="409458" indent="-203827" algn="l" defTabSz="519488" rtl="0" eaLnBrk="1" latinLnBrk="0" hangingPunct="1">
        <a:spcBef>
          <a:spcPct val="20000"/>
        </a:spcBef>
        <a:buFont typeface="Lucida Grande"/>
        <a:buChar char="»"/>
        <a:defRPr sz="1867" kern="1200">
          <a:solidFill>
            <a:srgbClr val="082566"/>
          </a:solidFill>
          <a:latin typeface="+mn-lt"/>
          <a:ea typeface="+mn-ea"/>
          <a:cs typeface="+mn-cs"/>
        </a:defRPr>
      </a:lvl2pPr>
      <a:lvl3pPr marL="607874" indent="-198415" algn="l" defTabSz="519488" rtl="0" eaLnBrk="1" latinLnBrk="0" hangingPunct="1">
        <a:spcBef>
          <a:spcPct val="20000"/>
        </a:spcBef>
        <a:buFont typeface="Lucida Grande"/>
        <a:buChar char="»"/>
        <a:defRPr sz="1600" kern="1200">
          <a:solidFill>
            <a:srgbClr val="082566"/>
          </a:solidFill>
          <a:latin typeface="+mn-lt"/>
          <a:ea typeface="+mn-ea"/>
          <a:cs typeface="+mn-cs"/>
        </a:defRPr>
      </a:lvl3pPr>
      <a:lvl4pPr marL="813505" marR="0" indent="-205631" algn="l" defTabSz="51948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Char char="»"/>
        <a:tabLst/>
        <a:defRPr sz="1333" kern="1200">
          <a:solidFill>
            <a:srgbClr val="1292DC"/>
          </a:solidFill>
          <a:latin typeface="+mn-lt"/>
          <a:ea typeface="+mn-ea"/>
          <a:cs typeface="+mn-cs"/>
        </a:defRPr>
      </a:lvl4pPr>
      <a:lvl5pPr marL="505058" indent="-299427" algn="l" defTabSz="519488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lang="en-US" sz="2533" kern="1200" smtClean="0">
          <a:solidFill>
            <a:srgbClr val="082566"/>
          </a:solidFill>
          <a:latin typeface="+mn-lt"/>
          <a:ea typeface="+mn-ea"/>
          <a:cs typeface="+mn-cs"/>
        </a:defRPr>
      </a:lvl5pPr>
      <a:lvl6pPr marL="1017331" indent="-409458" algn="l" defTabSz="519488" rtl="0" eaLnBrk="1" latinLnBrk="0" hangingPunct="1">
        <a:lnSpc>
          <a:spcPct val="100000"/>
        </a:lnSpc>
        <a:spcBef>
          <a:spcPct val="20000"/>
        </a:spcBef>
        <a:buFont typeface="Lucida Grande"/>
        <a:buChar char="»"/>
        <a:defRPr lang="en-US" sz="1200" b="1" i="0" kern="1200" smtClean="0">
          <a:solidFill>
            <a:srgbClr val="1292DC"/>
          </a:solidFill>
          <a:latin typeface="Calibri"/>
          <a:ea typeface="+mn-ea"/>
          <a:cs typeface="Calibri"/>
        </a:defRPr>
      </a:lvl6pPr>
      <a:lvl7pPr marL="813504" marR="0" indent="0" algn="l" defTabSz="51948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None/>
        <a:tabLst/>
        <a:defRPr lang="en-US" sz="1333" kern="1200" smtClean="0">
          <a:solidFill>
            <a:srgbClr val="1292DC"/>
          </a:solidFill>
          <a:latin typeface="+mn-lt"/>
          <a:ea typeface="+mn-ea"/>
          <a:cs typeface="+mn-cs"/>
        </a:defRPr>
      </a:lvl7pPr>
      <a:lvl8pPr marL="3896161" indent="-259744" algn="l" defTabSz="519488" rtl="0" eaLnBrk="1" latinLnBrk="0" hangingPunct="1">
        <a:spcBef>
          <a:spcPct val="20000"/>
        </a:spcBef>
        <a:buFont typeface="Arial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650" indent="-259744" algn="l" defTabSz="519488" rtl="0" eaLnBrk="1" latinLnBrk="0" hangingPunct="1">
        <a:spcBef>
          <a:spcPct val="20000"/>
        </a:spcBef>
        <a:buFont typeface="Arial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519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B8140901-4761-40E0-8BD0-BFFE54D85865}"/>
              </a:ext>
            </a:extLst>
          </p:cNvPr>
          <p:cNvPicPr>
            <a:picLocks noGrp="1" noChangeAspect="1"/>
          </p:cNvPicPr>
          <p:nvPr>
            <p:ph idx="19"/>
          </p:nvPr>
        </p:nvPicPr>
        <p:blipFill>
          <a:blip r:embed="rId2"/>
          <a:stretch>
            <a:fillRect/>
          </a:stretch>
        </p:blipFill>
        <p:spPr>
          <a:xfrm>
            <a:off x="9222511" y="1835151"/>
            <a:ext cx="856861" cy="1200149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EFACD48-BEFE-4513-A7D2-340880B8E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zanne Danfort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D513AA-0E69-452D-888F-6DC81EDF5A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mericas Markets Lead, Oil</a:t>
            </a:r>
            <a:r>
              <a:rPr lang="en-GB"/>
              <a:t>, Refining </a:t>
            </a:r>
            <a:r>
              <a:rPr lang="en-GB" dirty="0"/>
              <a:t>&amp; NGL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04566F5-3FA2-45F9-91C0-B064B03AAB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Biograph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000EC-854D-411D-8823-AA6B01DF9B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141E2A-69A1-4E5E-A537-F4463E994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Connect with Suzanne</a:t>
            </a:r>
          </a:p>
          <a:p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15D93F0-53CE-418C-87AE-33D03523F925}"/>
              </a:ext>
            </a:extLst>
          </p:cNvPr>
          <p:cNvSpPr>
            <a:spLocks noGrp="1"/>
          </p:cNvSpPr>
          <p:nvPr>
            <p:ph idx="20"/>
          </p:nvPr>
        </p:nvSpPr>
        <p:spPr/>
        <p:txBody>
          <a:bodyPr/>
          <a:lstStyle/>
          <a:p>
            <a:r>
              <a:rPr lang="en-US" b="0" dirty="0"/>
              <a:t>Suzanne Danforth is the Americas Markets Lead for oil, refining &amp; NGLs at Wood Mackenzie. She leads our global short-term global demand outlook and focuses on our North American short-term and long-term demand. She leads the refining analyst team and focuses on establishing how the North American refining industry fits in the global market and competitive landscape.</a:t>
            </a:r>
          </a:p>
          <a:p>
            <a:r>
              <a:rPr lang="en-US" b="0" dirty="0"/>
              <a:t>She has 20 years of experience in the energy information space, from developing methodologies and price assessments for global energy and metals commodities at Argus and S&amp;P Platts to leading near-real-time product development for NGLs and refined products fundamental data at Genscape. </a:t>
            </a:r>
          </a:p>
          <a:p>
            <a:r>
              <a:rPr lang="en-US" b="0" dirty="0"/>
              <a:t>Prior to joining Wood Mackenzie, Suzanne managed the downstream oil team at Genscape, leading content creation and product development focused on providing transparency in oil fundamental data and markets. </a:t>
            </a:r>
          </a:p>
          <a:p>
            <a:r>
              <a:rPr lang="en-US" b="0" dirty="0"/>
              <a:t>She has a bachelor’s degree from Rice University in Political Science/Economics and a masters’ degree from Penn State for Data Analytics. </a:t>
            </a:r>
            <a:endParaRPr lang="en-GB" b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7828A37-CCF9-4ABA-AC54-42301A2C0F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dirty="0"/>
              <a:t>+1 281 243 8325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77E96E8-BD6C-479E-AE27-03041C938AA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suzanne.danforth@woodmac.com</a:t>
            </a:r>
          </a:p>
        </p:txBody>
      </p:sp>
    </p:spTree>
    <p:extLst>
      <p:ext uri="{BB962C8B-B14F-4D97-AF65-F5344CB8AC3E}">
        <p14:creationId xmlns:p14="http://schemas.microsoft.com/office/powerpoint/2010/main" val="3929019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WoodMac Content Slides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baseline="0" dirty="0" err="1" smtClean="0">
            <a:ea typeface="Roboto" panose="02000000000000000000" pitchFamily="2" charset="0"/>
            <a:cs typeface="Roboto" panose="02000000000000000000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 algn="ctr">
          <a:defRPr b="0" baseline="0" dirty="0" smtClean="0">
            <a:solidFill>
              <a:schemeClr val="tx2"/>
            </a:solidFill>
            <a:latin typeface="+mj-lt"/>
            <a:ea typeface="Roboto" panose="02000000000000000000" pitchFamily="2" charset="0"/>
            <a:cs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E144D276-E4C8-497B-A684-A94AB3FAC785}" vid="{6C3E0065-76D4-4CE7-B64B-3091D79F4B3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BA6227CAB97C4DAFA7C2CCE5BF7387" ma:contentTypeVersion="13" ma:contentTypeDescription="Create a new document." ma:contentTypeScope="" ma:versionID="97b321d5426c95e547d51c85dbc2d02d">
  <xsd:schema xmlns:xsd="http://www.w3.org/2001/XMLSchema" xmlns:xs="http://www.w3.org/2001/XMLSchema" xmlns:p="http://schemas.microsoft.com/office/2006/metadata/properties" xmlns:ns3="a6fc977c-dc1e-4ec7-97bd-98bd91848d24" xmlns:ns4="9e074eb3-1bd8-43a7-b25d-f7e00c30b535" targetNamespace="http://schemas.microsoft.com/office/2006/metadata/properties" ma:root="true" ma:fieldsID="faf0fadc3273c1bb4b0005d794ce796e" ns3:_="" ns4:_="">
    <xsd:import namespace="a6fc977c-dc1e-4ec7-97bd-98bd91848d24"/>
    <xsd:import namespace="9e074eb3-1bd8-43a7-b25d-f7e00c30b53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fc977c-dc1e-4ec7-97bd-98bd91848d2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074eb3-1bd8-43a7-b25d-f7e00c30b5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DD8387-233D-49FE-BBF5-C94FAA440A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fc977c-dc1e-4ec7-97bd-98bd91848d24"/>
    <ds:schemaRef ds:uri="9e074eb3-1bd8-43a7-b25d-f7e00c30b5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933CF8E-CD4D-4330-AFB4-38F8FDE0972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5E189A-2E8F-439A-B931-CD66EA9DF84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e074eb3-1bd8-43a7-b25d-f7e00c30b535"/>
    <ds:schemaRef ds:uri="a6fc977c-dc1e-4ec7-97bd-98bd91848d2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</TotalTime>
  <Words>191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Lucida Grande</vt:lpstr>
      <vt:lpstr>Roboto</vt:lpstr>
      <vt:lpstr>Wingdings 2</vt:lpstr>
      <vt:lpstr>4_WoodMac Content Slides</vt:lpstr>
      <vt:lpstr>think-cell Slide</vt:lpstr>
      <vt:lpstr>Suzanne Danfort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zanne Danforth</dc:title>
  <dc:creator>Danforth, Suzanne</dc:creator>
  <cp:lastModifiedBy>Yvette Fowler</cp:lastModifiedBy>
  <cp:revision>3</cp:revision>
  <cp:lastPrinted>2022-02-08T16:12:26Z</cp:lastPrinted>
  <dcterms:created xsi:type="dcterms:W3CDTF">2021-04-13T20:47:04Z</dcterms:created>
  <dcterms:modified xsi:type="dcterms:W3CDTF">2022-02-09T19:5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BA6227CAB97C4DAFA7C2CCE5BF7387</vt:lpwstr>
  </property>
</Properties>
</file>